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F6F6F6"/>
    <a:srgbClr val="5A5A5A"/>
    <a:srgbClr val="8D8D8D"/>
    <a:srgbClr val="C60018"/>
    <a:srgbClr val="444444"/>
    <a:srgbClr val="E5E5E5"/>
    <a:srgbClr val="A8A8A8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3-03T13:43:48.403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3-03T13:43:48.403" v="5" actId="27918"/>
        <pc:sldMkLst>
          <pc:docMk/>
          <pc:sldMk cId="2820921500" sldId="40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65600648848332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arois et buttes antibruit (longueur de construction e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68.13877209999998</c:v>
                </c:pt>
                <c:pt idx="1">
                  <c:v>383.05045860000001</c:v>
                </c:pt>
                <c:pt idx="2">
                  <c:v>390.82165859999998</c:v>
                </c:pt>
                <c:pt idx="3">
                  <c:v>402.5056586</c:v>
                </c:pt>
                <c:pt idx="4">
                  <c:v>403.75584859999998</c:v>
                </c:pt>
                <c:pt idx="5">
                  <c:v>412.27625444639398</c:v>
                </c:pt>
                <c:pt idx="6">
                  <c:v>416.74980696325702</c:v>
                </c:pt>
                <c:pt idx="7">
                  <c:v>421.91321236947499</c:v>
                </c:pt>
                <c:pt idx="8">
                  <c:v>425.01739751144299</c:v>
                </c:pt>
                <c:pt idx="9">
                  <c:v>427.20855083109399</c:v>
                </c:pt>
                <c:pt idx="10">
                  <c:v>426.87690409644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Wagons de CFF Cargo SA équipés de freins antibruit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\,##0.0</c:formatCode>
                <c:ptCount val="11"/>
                <c:pt idx="0">
                  <c:v>92.613812325797497</c:v>
                </c:pt>
                <c:pt idx="1">
                  <c:v>92.908876536971505</c:v>
                </c:pt>
                <c:pt idx="2">
                  <c:v>93.596059113300498</c:v>
                </c:pt>
                <c:pt idx="3">
                  <c:v>93.670172802404196</c:v>
                </c:pt>
                <c:pt idx="4">
                  <c:v>97.340214370782107</c:v>
                </c:pt>
                <c:pt idx="5">
                  <c:v>98.022199798183607</c:v>
                </c:pt>
                <c:pt idx="6">
                  <c:v>98.758295868122502</c:v>
                </c:pt>
                <c:pt idx="7">
                  <c:v>98.784458432819605</c:v>
                </c:pt>
                <c:pt idx="8">
                  <c:v>98.804780876493993</c:v>
                </c:pt>
                <c:pt idx="9">
                  <c:v>99.796747967479703</c:v>
                </c:pt>
                <c:pt idx="10">
                  <c:v>99.8068565910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Matériel roulant de CFF Voyageurs équipé de freins antibruit (%)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\,##0.0</c:formatCode>
                <c:ptCount val="11"/>
                <c:pt idx="0">
                  <c:v>97.156819191470504</c:v>
                </c:pt>
                <c:pt idx="1">
                  <c:v>97.557184099489206</c:v>
                </c:pt>
                <c:pt idx="2">
                  <c:v>97.597204019222403</c:v>
                </c:pt>
                <c:pt idx="3">
                  <c:v>97.674418604651194</c:v>
                </c:pt>
                <c:pt idx="4">
                  <c:v>97.846153846153896</c:v>
                </c:pt>
                <c:pt idx="5">
                  <c:v>97.984344422700602</c:v>
                </c:pt>
                <c:pt idx="6">
                  <c:v>98.285936891312801</c:v>
                </c:pt>
                <c:pt idx="7">
                  <c:v>98.458574181117498</c:v>
                </c:pt>
                <c:pt idx="8">
                  <c:v>98.553758325404402</c:v>
                </c:pt>
                <c:pt idx="9">
                  <c:v>98.598130841121502</c:v>
                </c:pt>
                <c:pt idx="10">
                  <c:v>98.689717925386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83453712526851842"/>
          <c:w val="0.59232821870397456"/>
          <c:h val="0.16266583430019896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1</cdr:x>
      <cdr:y>0.05035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-1881188"/>
          <a:ext cx="307849" cy="20112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km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/>
              <a:t>Protection contre le bruit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1758939"/>
              </p:ext>
            </p:extLst>
          </p:nvPr>
        </p:nvGraphicFramePr>
        <p:xfrm>
          <a:off x="1487487" y="1881188"/>
          <a:ext cx="9217025" cy="442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997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http://purl.org/dc/terms/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96e82a89-ba48-4728-b345-cf206dbec8f1"/>
  </ds:schemaRefs>
</ds:datastoreItem>
</file>

<file path=customXml/itemProps3.xml><?xml version="1.0" encoding="utf-8"?>
<ds:datastoreItem xmlns:ds="http://schemas.openxmlformats.org/officeDocument/2006/customXml" ds:itemID="{C63305F2-729B-41E0-81B0-CF4FE8F2AC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rotection contre le brui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ection contre le bruit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4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